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</p:sldIdLst>
  <p:sldSz cx="12192000" cy="6858000"/>
  <p:notesSz cx="6858000" cy="9144000"/>
  <p:custDataLst>
    <p:tags r:id="rId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80" d="100"/>
          <a:sy n="80" d="100"/>
        </p:scale>
        <p:origin x="53" y="1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7A3445-12A9-C909-8A13-42B1816F0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16A9419-56F1-51BE-526B-5FE9CFA8DF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E4D32C7-7D99-7BA2-713E-8C154E6B49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3869989-30EF-DCE7-EB16-31E71832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70FA54C-175F-D148-E823-17C85C9BA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1740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23F5C3-F505-DC64-A631-A81DB28AD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3D1AAB7-CEB4-2BA5-4A83-880D156CF8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2985151-093C-D62E-40F2-E98D008210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BF1CD1E-4E3A-3F3C-348A-BEB177438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8CDB09B-D92C-4ACA-343A-785A5DD0B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1460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931BFCB7-7ED8-E36B-0649-E4D7670B4E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8CBFADCC-8B3D-9324-E440-F27FD6041B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B9C9C0-EDDB-3480-1128-9533D3F43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C3016C2-13FF-7E76-5CD2-A401FDF3F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1D229D9-FCA9-669D-1380-63112B1E7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2104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DA23A8-9D9B-972B-5659-49222226E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008BF21-0F56-97DA-6759-FCE1DC5C04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29CFCEA-591F-021C-D568-66FD755B1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0D397E4-AEA3-2E03-AE68-E4C81F31C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416DECB-3677-58C9-3550-A5FC245C8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2879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185431-C6B5-5114-6390-D86B645B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A57CA33-4F4C-D05F-1F84-9362A7585C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C9DAC0E-2176-6B12-ADC3-CC1D2B259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39EEEC8-39E9-184B-1B04-F9375CA85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F083544-8222-003C-8653-9211A1D97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36728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A371C8-4777-EC42-C20A-57FB1CC67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0EA3FE9-623C-B88F-B5EB-EBF128FCF0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7990DC1-F123-782F-FCD4-741B90567C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BBD0E19-CAA3-B6F1-12DB-65E117FCB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7F3DD49-DC47-F3B2-4385-0D1C84815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2C1761E-DEA6-8A65-4677-5C07AF729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7089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4C79B1-740E-1C1E-C70F-5239BE0D4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5679725-197C-B8E2-46A0-A553252A8F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87A5BA6-C702-87DE-DAA0-925F6426CC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6665670-F719-334F-848C-B551CDE00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E404F11-A8A9-58FC-146D-F2F63483A9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E884AB68-E68B-CB9E-8AB9-7BDB70182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02D20030-1DFD-F4FA-2DFB-2EC828ECF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7FC5EE3-BD55-8A8F-4BDF-7263D83D8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25680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905FD7-CC0C-141D-6768-81164DC95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7517271-04F1-F825-0B6C-154B34947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C9FAAA25-5184-A823-AE7A-A9DBBF4E4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E84BEE3-6C0F-5EEA-80C6-A3FEBDA55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86251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F3572C5-97C3-6B49-5ED4-473687B00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3EFC4FB-D88A-87D3-267D-BE998A1FE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9D1C931-9CD3-1BCA-F751-29CE7BABD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753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481655-E5D9-C5EB-4648-BEE3B867E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47D0E6-8669-3D93-E924-040664FEC7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C141D6EB-1544-E0A5-59BD-EA8AA2DECD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E9B62E38-F741-95CB-6AD1-A7D4C5CCB5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13235D2-B6A5-DAA0-92BA-021CED977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9D7296C-CE9D-867D-072C-57C6D6A70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4872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5481F4-6FD7-223A-B4C6-4A8A6750F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66357E5E-2E1C-9106-A69F-55C2D194B9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D8AFC415-3750-CA0A-7EB6-C4172A7B14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6DC61E77-614D-0E73-893A-6BEF42911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5A29300-C9F0-867C-6414-3F34A3853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5747F87-752B-514C-F953-AF740FF54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1298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BE1401-FD0A-C63B-2214-494E82FC1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43243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60" progId="TCLayout.ActiveDocument.1">
                  <p:embed/>
                </p:oleObj>
              </mc:Choice>
              <mc:Fallback>
                <p:oleObj name="think-cell Slide" r:id="rId1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5A716BE9-5D01-F525-8804-9EB6ADFFF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DC775CF-856E-653D-E626-BF9962022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AD599A6-3B24-D32D-0866-23C4470441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4709D8-5C2A-4A26-BF41-2E9B14A8E8F8}" type="datetimeFigureOut">
              <a:rPr lang="da-DK" smtClean="0"/>
              <a:t>27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DA66E47-D108-D08D-F30F-2B85C72DDF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C3169B2-07D3-97C2-1D7F-8DCACB34C7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CA1612-AB5C-4755-AEEB-C2001C80A6B1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7B40381E-C336-1AB4-C0CA-5E27E77A5A8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507788" y="63500"/>
            <a:ext cx="64928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a-DK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394390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33A903-CE81-025D-FB85-16A3C39EC2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93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756E27A-4687-45A5-E269-0BBA32BF20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da-DK" sz="6600" b="1" dirty="0">
                <a:latin typeface="+mn-lt"/>
              </a:rPr>
              <a:t>Status fra Opgavebank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F0ABB8A-ED7B-78A5-3965-8C858435060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b="1" dirty="0"/>
              <a:t>Marts 2024</a:t>
            </a:r>
          </a:p>
        </p:txBody>
      </p:sp>
    </p:spTree>
    <p:extLst>
      <p:ext uri="{BB962C8B-B14F-4D97-AF65-F5344CB8AC3E}">
        <p14:creationId xmlns:p14="http://schemas.microsoft.com/office/powerpoint/2010/main" val="2771780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AF0AF9C-E7B5-EF62-1468-D0EF3BE3EE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22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311276-7523-9F10-CE1A-2B05CE68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a-DK" dirty="0"/>
              <a:t>Et lille regnestykke fra Opgavebank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7DE97A8-5951-2FC2-9198-BC99D51608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da-DK" dirty="0"/>
              <a:t>3 renhold hver 14. dag = 78 opgaver om året</a:t>
            </a:r>
          </a:p>
          <a:p>
            <a:pPr marL="0" indent="0" algn="ctr">
              <a:buNone/>
            </a:pPr>
            <a:r>
              <a:rPr lang="da-DK" dirty="0"/>
              <a:t>11 renhold hver 30. dag = 132 opgaver om året</a:t>
            </a:r>
          </a:p>
          <a:p>
            <a:pPr marL="0" indent="0" algn="ctr">
              <a:buNone/>
            </a:pPr>
            <a:r>
              <a:rPr lang="da-DK" dirty="0"/>
              <a:t>1 renhold hver kvartal = 4 opgaver om året</a:t>
            </a:r>
          </a:p>
          <a:p>
            <a:pPr marL="0" indent="0" algn="ctr">
              <a:buNone/>
            </a:pPr>
            <a:r>
              <a:rPr lang="da-DK" dirty="0"/>
              <a:t>8 grønne hver 30. dag = 128 opgaver om året</a:t>
            </a:r>
          </a:p>
          <a:p>
            <a:pPr marL="0" indent="0" algn="ctr">
              <a:buNone/>
            </a:pPr>
            <a:endParaRPr lang="da-DK" dirty="0"/>
          </a:p>
          <a:p>
            <a:pPr marL="0" indent="0" algn="ctr">
              <a:buNone/>
            </a:pPr>
            <a:r>
              <a:rPr lang="da-DK" dirty="0"/>
              <a:t>I alt 342 opgaver fordelt på 113 husstande =</a:t>
            </a:r>
          </a:p>
          <a:p>
            <a:pPr marL="0" indent="0" algn="ctr">
              <a:buNone/>
            </a:pPr>
            <a:endParaRPr lang="da-DK" dirty="0"/>
          </a:p>
          <a:p>
            <a:pPr marL="0" indent="0" algn="ctr">
              <a:buNone/>
            </a:pPr>
            <a:r>
              <a:rPr lang="da-DK" sz="4800" dirty="0"/>
              <a:t>3 opgaver pr. husstand om året </a:t>
            </a:r>
          </a:p>
          <a:p>
            <a:pPr marL="0" indent="0" algn="ctr">
              <a:buNone/>
            </a:pPr>
            <a:r>
              <a:rPr lang="da-DK" sz="2600" dirty="0"/>
              <a:t>(udover 2 arbejdsdage)</a:t>
            </a:r>
          </a:p>
        </p:txBody>
      </p:sp>
    </p:spTree>
    <p:extLst>
      <p:ext uri="{BB962C8B-B14F-4D97-AF65-F5344CB8AC3E}">
        <p14:creationId xmlns:p14="http://schemas.microsoft.com/office/powerpoint/2010/main" val="985003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053B5E7-6587-9DFC-615E-28632BCDDB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92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055626-1C36-12AE-CAA8-774968DEC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da-DK" dirty="0"/>
              <a:t>Status på besatte opgaver 2023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0C84306-3FBD-CABE-6DE9-96DABE38E7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dirty="0"/>
              <a:t>58 husstande deltog i Opgavebanken</a:t>
            </a:r>
          </a:p>
          <a:p>
            <a:pPr marL="0" indent="0" algn="ctr">
              <a:buNone/>
            </a:pPr>
            <a:r>
              <a:rPr lang="da-DK" dirty="0"/>
              <a:t>31 af dem, tog 1-2 opgaver</a:t>
            </a:r>
          </a:p>
          <a:p>
            <a:pPr marL="0" indent="0" algn="ctr">
              <a:buNone/>
            </a:pPr>
            <a:r>
              <a:rPr lang="da-DK" dirty="0"/>
              <a:t>27 af dem, tog 3-16 opgaver</a:t>
            </a:r>
          </a:p>
          <a:p>
            <a:pPr marL="0" indent="0" algn="ctr">
              <a:buNone/>
            </a:pPr>
            <a:endParaRPr lang="da-DK" dirty="0"/>
          </a:p>
          <a:p>
            <a:pPr marL="0" indent="0" algn="ctr">
              <a:buNone/>
            </a:pPr>
            <a:r>
              <a:rPr lang="da-DK" dirty="0"/>
              <a:t>55 husstande tog INGEN opgaver</a:t>
            </a: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13002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102</Words>
  <Application>Microsoft Office PowerPoint</Application>
  <PresentationFormat>Widescreen</PresentationFormat>
  <Paragraphs>18</Paragraphs>
  <Slides>3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-tema</vt:lpstr>
      <vt:lpstr>think-cell Slide</vt:lpstr>
      <vt:lpstr>Status fra Opgavebanken</vt:lpstr>
      <vt:lpstr>Et lille regnestykke fra Opgavebanken</vt:lpstr>
      <vt:lpstr>Status på besatte opgaver 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fra Opgavebanken</dc:title>
  <dc:creator>Stine Rydberg</dc:creator>
  <cp:lastModifiedBy>Stine Rydberg</cp:lastModifiedBy>
  <cp:revision>2</cp:revision>
  <dcterms:created xsi:type="dcterms:W3CDTF">2024-02-27T12:05:52Z</dcterms:created>
  <dcterms:modified xsi:type="dcterms:W3CDTF">2024-02-27T12:2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2f12ef9-d7dd-4ef3-b0e4-72f6431cf7ab_Enabled">
    <vt:lpwstr>true</vt:lpwstr>
  </property>
  <property fmtid="{D5CDD505-2E9C-101B-9397-08002B2CF9AE}" pid="3" name="MSIP_Label_22f12ef9-d7dd-4ef3-b0e4-72f6431cf7ab_SetDate">
    <vt:lpwstr>2024-02-27T12:12:58Z</vt:lpwstr>
  </property>
  <property fmtid="{D5CDD505-2E9C-101B-9397-08002B2CF9AE}" pid="4" name="MSIP_Label_22f12ef9-d7dd-4ef3-b0e4-72f6431cf7ab_Method">
    <vt:lpwstr>Standard</vt:lpwstr>
  </property>
  <property fmtid="{D5CDD505-2E9C-101B-9397-08002B2CF9AE}" pid="5" name="MSIP_Label_22f12ef9-d7dd-4ef3-b0e4-72f6431cf7ab_Name">
    <vt:lpwstr>DEFAULT</vt:lpwstr>
  </property>
  <property fmtid="{D5CDD505-2E9C-101B-9397-08002B2CF9AE}" pid="6" name="MSIP_Label_22f12ef9-d7dd-4ef3-b0e4-72f6431cf7ab_SiteId">
    <vt:lpwstr>e8dcf6e6-3acc-4af9-9cb2-77f688cb688b</vt:lpwstr>
  </property>
  <property fmtid="{D5CDD505-2E9C-101B-9397-08002B2CF9AE}" pid="7" name="MSIP_Label_22f12ef9-d7dd-4ef3-b0e4-72f6431cf7ab_ActionId">
    <vt:lpwstr>357186d0-f02f-4f98-bac2-c4fd647d0d57</vt:lpwstr>
  </property>
  <property fmtid="{D5CDD505-2E9C-101B-9397-08002B2CF9AE}" pid="8" name="MSIP_Label_22f12ef9-d7dd-4ef3-b0e4-72f6431cf7ab_ContentBits">
    <vt:lpwstr>1</vt:lpwstr>
  </property>
  <property fmtid="{D5CDD505-2E9C-101B-9397-08002B2CF9AE}" pid="9" name="ClassificationContentMarkingHeaderLocations">
    <vt:lpwstr>Office-tema:10</vt:lpwstr>
  </property>
  <property fmtid="{D5CDD505-2E9C-101B-9397-08002B2CF9AE}" pid="10" name="ClassificationContentMarkingHeaderText">
    <vt:lpwstr>RESTRICTED</vt:lpwstr>
  </property>
</Properties>
</file>